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86" r:id="rId1"/>
  </p:sldMasterIdLst>
  <p:notesMasterIdLst>
    <p:notesMasterId r:id="rId5"/>
  </p:notesMasterIdLst>
  <p:handoutMasterIdLst>
    <p:handoutMasterId r:id="rId6"/>
  </p:handoutMasterIdLst>
  <p:sldIdLst>
    <p:sldId id="333" r:id="rId2"/>
    <p:sldId id="2147473314" r:id="rId3"/>
    <p:sldId id="2147473315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8CEA33E1-4A7A-4409-B98C-9D4EADCBDE13}">
          <p14:sldIdLst>
            <p14:sldId id="333"/>
          </p14:sldIdLst>
        </p14:section>
        <p14:section name="Box and whisker chart" id="{13EFD5AE-13DE-4367-80A6-AF244E057477}">
          <p14:sldIdLst>
            <p14:sldId id="2147473314"/>
          </p14:sldIdLst>
        </p14:section>
        <p14:section name="Advanced" id="{993701C2-5AB4-4C45-BCC8-1EDEDD9C3A23}">
          <p14:sldIdLst>
            <p14:sldId id="214747331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F713CB-3D88-4BB9-B99F-B8349EDFB5E5}" v="816" dt="2026-01-20T10:26:25.0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97308" autoAdjust="0"/>
  </p:normalViewPr>
  <p:slideViewPr>
    <p:cSldViewPr snapToGrid="0">
      <p:cViewPr varScale="1">
        <p:scale>
          <a:sx n="158" d="100"/>
          <a:sy n="158" d="100"/>
        </p:scale>
        <p:origin x="268" y="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346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5" Type="http://schemas.openxmlformats.org/officeDocument/2006/relationships/customXml" Target="../customXml/item2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530973451327431E-2"/>
          <c:y val="5.2377115229653506E-2"/>
          <c:w val="0.93296460176991147"/>
          <c:h val="0.89524576954069301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BA2-4596-AABE-41BAAEC9B5EF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3:$C$3</c:f>
                <c:numCache>
                  <c:formatCode>General</c:formatCode>
                  <c:ptCount val="3"/>
                  <c:pt idx="0">
                    <c:v>-1</c:v>
                  </c:pt>
                  <c:pt idx="1">
                    <c:v>2</c:v>
                  </c:pt>
                  <c:pt idx="2">
                    <c:v>1.5</c:v>
                  </c:pt>
                </c:numCache>
              </c:numRef>
            </c:plus>
            <c:spPr>
              <a:ln w="152400" cmpd="sng" algn="ctr">
                <a:solidFill>
                  <a:srgbClr val="1BBC9B"/>
                </a:solidFill>
                <a:prstDash val="solid"/>
              </a:ln>
            </c:spPr>
          </c:errBars>
          <c:xVal>
            <c:numRef>
              <c:f>Sheet1!$A$1:$C$1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4:$C$4</c:f>
              <c:numCache>
                <c:formatCode>General</c:formatCode>
                <c:ptCount val="3"/>
                <c:pt idx="0">
                  <c:v>5</c:v>
                </c:pt>
                <c:pt idx="1">
                  <c:v>3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BA2-4596-AABE-41BAAEC9B5EF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BA2-4596-AABE-41BAAEC9B5EF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BA2-4596-AABE-41BAAEC9B5EF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BA2-4596-AABE-41BAAEC9B5EF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5:$C$5</c:f>
                <c:numCache>
                  <c:formatCode>General</c:formatCode>
                  <c:ptCount val="3"/>
                  <c:pt idx="0">
                    <c:v>-4</c:v>
                  </c:pt>
                  <c:pt idx="1">
                    <c:v>-6.5</c:v>
                  </c:pt>
                  <c:pt idx="2">
                    <c:v>-3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xVal>
            <c:numRef>
              <c:f>Sheet1!$A$1:$C$1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6:$C$6</c:f>
              <c:numCache>
                <c:formatCode>General</c:formatCode>
                <c:ptCount val="3"/>
                <c:pt idx="0">
                  <c:v>7</c:v>
                </c:pt>
                <c:pt idx="1">
                  <c:v>9</c:v>
                </c:pt>
                <c:pt idx="2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BA2-4596-AABE-41BAAEC9B5EF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BA2-4596-AABE-41BAAEC9B5EF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BA2-4596-AABE-41BAAEC9B5EF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BA2-4596-AABE-41BAAEC9B5EF}"/>
              </c:ext>
            </c:extLst>
          </c:dPt>
          <c:xVal>
            <c:numRef>
              <c:f>Sheet1!$A$1:$C$1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7:$C$7</c:f>
              <c:numCache>
                <c:formatCode>General</c:formatCode>
                <c:ptCount val="3"/>
                <c:pt idx="0">
                  <c:v>3</c:v>
                </c:pt>
                <c:pt idx="1">
                  <c:v>2.5</c:v>
                </c:pt>
                <c:pt idx="2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BA2-4596-AABE-41BAAEC9B5EF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BA2-4596-AABE-41BAAEC9B5EF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BA2-4596-AABE-41BAAEC9B5EF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BA2-4596-AABE-41BAAEC9B5EF}"/>
              </c:ext>
            </c:extLst>
          </c:dPt>
          <c:xVal>
            <c:numRef>
              <c:f>Sheet1!$A$1:$C$1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8:$C$8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3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EBA2-4596-AABE-41BAAEC9B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7"/>
          <c:min val="20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530973451327431E-2"/>
          <c:y val="5.2377115229653506E-2"/>
          <c:w val="0.93296460176991147"/>
          <c:h val="0.89524576954069301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1:$C$1</c:f>
                <c:numCache>
                  <c:formatCode>General</c:formatCode>
                  <c:ptCount val="3"/>
                  <c:pt idx="0">
                    <c:v>2</c:v>
                  </c:pt>
                  <c:pt idx="1">
                    <c:v>4</c:v>
                  </c:pt>
                  <c:pt idx="2">
                    <c:v>1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xVal>
            <c:numRef>
              <c:f>Sheet1!$A$2:$C$2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3:$C$3</c:f>
              <c:numCache>
                <c:formatCode>General</c:formatCode>
                <c:ptCount val="3"/>
                <c:pt idx="0">
                  <c:v>5</c:v>
                </c:pt>
                <c:pt idx="1">
                  <c:v>5</c:v>
                </c:pt>
                <c:pt idx="2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80-4EC4-A5B6-0A9C6DE38D3C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4:$C$4</c:f>
                <c:numCache>
                  <c:formatCode>General</c:formatCode>
                  <c:ptCount val="3"/>
                  <c:pt idx="0">
                    <c:v>1</c:v>
                  </c:pt>
                  <c:pt idx="1">
                    <c:v>2</c:v>
                  </c:pt>
                  <c:pt idx="2">
                    <c:v>1.5</c:v>
                  </c:pt>
                </c:numCache>
              </c:numRef>
            </c:plus>
            <c:spPr>
              <a:ln w="152400" cmpd="sng" algn="ctr">
                <a:solidFill>
                  <a:srgbClr val="1BBC9B"/>
                </a:solidFill>
                <a:prstDash val="solid"/>
              </a:ln>
            </c:spPr>
          </c:errBars>
          <c:xVal>
            <c:numRef>
              <c:f>Sheet1!$A$2:$C$2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5:$C$5</c:f>
              <c:numCache>
                <c:formatCode>General</c:formatCode>
                <c:ptCount val="3"/>
                <c:pt idx="0">
                  <c:v>4</c:v>
                </c:pt>
                <c:pt idx="1">
                  <c:v>3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280-4EC4-A5B6-0A9C6DE38D3C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280-4EC4-A5B6-0A9C6DE38D3C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280-4EC4-A5B6-0A9C6DE38D3C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280-4EC4-A5B6-0A9C6DE38D3C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6:$C$6</c:f>
                <c:numCache>
                  <c:formatCode>General</c:formatCode>
                  <c:ptCount val="3"/>
                  <c:pt idx="0">
                    <c:v>-4</c:v>
                  </c:pt>
                  <c:pt idx="1">
                    <c:v>-6.5</c:v>
                  </c:pt>
                  <c:pt idx="2">
                    <c:v>-3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xVal>
            <c:numRef>
              <c:f>Sheet1!$A$2:$C$2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7:$C$7</c:f>
              <c:numCache>
                <c:formatCode>General</c:formatCode>
                <c:ptCount val="3"/>
                <c:pt idx="0">
                  <c:v>7</c:v>
                </c:pt>
                <c:pt idx="1">
                  <c:v>9</c:v>
                </c:pt>
                <c:pt idx="2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D280-4EC4-A5B6-0A9C6DE38D3C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280-4EC4-A5B6-0A9C6DE38D3C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280-4EC4-A5B6-0A9C6DE38D3C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280-4EC4-A5B6-0A9C6DE38D3C}"/>
              </c:ext>
            </c:extLst>
          </c:dPt>
          <c:xVal>
            <c:numRef>
              <c:f>Sheet1!$A$2:$C$2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8:$C$8</c:f>
              <c:numCache>
                <c:formatCode>General</c:formatCode>
                <c:ptCount val="3"/>
                <c:pt idx="0">
                  <c:v>3</c:v>
                </c:pt>
                <c:pt idx="1">
                  <c:v>2.5</c:v>
                </c:pt>
                <c:pt idx="2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280-4EC4-A5B6-0A9C6DE38D3C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280-4EC4-A5B6-0A9C6DE38D3C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280-4EC4-A5B6-0A9C6DE38D3C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280-4EC4-A5B6-0A9C6DE38D3C}"/>
              </c:ext>
            </c:extLst>
          </c:dPt>
          <c:xVal>
            <c:numRef>
              <c:f>Sheet1!$A$2:$C$2</c:f>
              <c:numCache>
                <c:formatCode>General</c:formatCode>
                <c:ptCount val="3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</c:numCache>
            </c:numRef>
          </c:xVal>
          <c:yVal>
            <c:numRef>
              <c:f>Sheet1!$A$9:$C$9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3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D280-4EC4-A5B6-0A9C6DE38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7"/>
          <c:min val="20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1/2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 dirty="0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324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0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882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9254196-BA67-C430-4695-4AB891007B35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Arial Bold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 of the presentation (max. 1 </a:t>
            </a:r>
            <a:r>
              <a:rPr lang="en-US"/>
              <a:t>line)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2002-2026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| Presenter nam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2B35A80-05CD-5EED-40A5-797C1C80700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70145" y="1162251"/>
            <a:ext cx="1753421" cy="411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39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77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50" progId="TCLayout.ActiveDocument.1">
                  <p:embed/>
                </p:oleObj>
              </mc:Choice>
              <mc:Fallback>
                <p:oleObj name="think-cell Slide" r:id="rId5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2002-2026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E44C766-B4A1-C6DC-621B-6760FA5CF38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77816" y="350590"/>
            <a:ext cx="1046379" cy="24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9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orient="horz" pos="23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6.e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/>
          </p:cNvSpPr>
          <p:nvPr>
            <p:ph type="title"/>
          </p:nvPr>
        </p:nvSpPr>
        <p:spPr>
          <a:xfrm>
            <a:off x="5523638" y="2949321"/>
            <a:ext cx="6296887" cy="609398"/>
          </a:xfrm>
        </p:spPr>
        <p:txBody>
          <a:bodyPr vert="horz" wrap="square" rIns="0">
            <a:spAutoFit/>
          </a:bodyPr>
          <a:lstStyle/>
          <a:p>
            <a:r>
              <a:rPr lang="en-US" noProof="0" dirty="0"/>
              <a:t>Box and whisker char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think-cell 14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January 2026</a:t>
            </a:r>
          </a:p>
        </p:txBody>
      </p:sp>
    </p:spTree>
    <p:extLst>
      <p:ext uri="{BB962C8B-B14F-4D97-AF65-F5344CB8AC3E}">
        <p14:creationId xmlns:p14="http://schemas.microsoft.com/office/powerpoint/2010/main" val="827654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289414BA-30E3-F668-CCEA-B5E43A0250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DCA2CD-F6DB-9A21-EDF4-0B5AC788847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39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DCA2CD-F6DB-9A21-EDF4-0B5AC7888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6773350-9E47-22B3-9629-AEE90400FC2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41400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ECDC553-24B5-473D-E04A-713F32A28DA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714625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7DAF612-52C2-8534-1A13-F3C1B295078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87850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9C53161-BBD9-9A39-8E0F-25614575E3C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062663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8B4910C-CDBA-F531-353B-E997BA17DEAB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4009970"/>
              </p:ext>
            </p:extLst>
          </p:nvPr>
        </p:nvGraphicFramePr>
        <p:xfrm>
          <a:off x="642938" y="1633538"/>
          <a:ext cx="7175500" cy="3940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BC8F7F0-BA61-0E18-7C56-285D89E1B87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517775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8BA90D-E0BB-4477-B61C-45F35F4B77EE}" type="datetime'2''''''''''''''0''''2''''''''''''''''''''4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1732346-47BC-6215-F145-D9C8E68D422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191000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428D04-0779-40EB-BEE5-14FDEB9B57D8}" type="datetime'''''''''''2''''0''''''''''''''''''''''''''''''2''''''5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5B74E01-E746-A5CF-6C1B-2658B200EE8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865813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9EB21E-D391-4233-A709-D905167F9F42}" type="datetime'''2''''''''''''''''0''''''''''''''''26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35964C9-4944-F913-F1AF-9A29B1FF3AD2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91440">
            <a:spAutoFit/>
          </a:bodyPr>
          <a:lstStyle/>
          <a:p>
            <a:r>
              <a:rPr lang="en-US" dirty="0"/>
              <a:t>Box and whisker chart</a:t>
            </a:r>
          </a:p>
        </p:txBody>
      </p:sp>
      <p:sp>
        <p:nvSpPr>
          <p:cNvPr id="2" name="tc_columnhead">
            <a:extLst>
              <a:ext uri="{FF2B5EF4-FFF2-40B4-BE49-F238E27FC236}">
                <a16:creationId xmlns:a16="http://schemas.microsoft.com/office/drawing/2014/main" id="{78700108-1C0C-381E-8296-90BBBA67F48F}"/>
              </a:ext>
            </a:extLst>
          </p:cNvPr>
          <p:cNvSpPr txBox="1">
            <a:spLocks/>
          </p:cNvSpPr>
          <p:nvPr/>
        </p:nvSpPr>
        <p:spPr>
          <a:xfrm>
            <a:off x="8455234" y="1557338"/>
            <a:ext cx="3365818" cy="282573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vert="horz" wrap="square" lIns="0" tIns="0" rIns="0" bIns="36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1"/>
                </a:solidFill>
              </a:rPr>
              <a:t>Edit the chart</a:t>
            </a:r>
          </a:p>
        </p:txBody>
      </p:sp>
      <p:sp>
        <p:nvSpPr>
          <p:cNvPr id="7" name="Rechteck 137">
            <a:extLst>
              <a:ext uri="{FF2B5EF4-FFF2-40B4-BE49-F238E27FC236}">
                <a16:creationId xmlns:a16="http://schemas.microsoft.com/office/drawing/2014/main" id="{CB64386A-896F-9E3D-7CDE-6D7467BF9332}"/>
              </a:ext>
            </a:extLst>
          </p:cNvPr>
          <p:cNvSpPr>
            <a:spLocks/>
          </p:cNvSpPr>
          <p:nvPr/>
        </p:nvSpPr>
        <p:spPr>
          <a:xfrm>
            <a:off x="8455234" y="1916113"/>
            <a:ext cx="3366000" cy="41417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Double-click the chart to open the slide workbook, where you can adjust the values for min, max, upper and lower quartiles, and medians. 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You can also add more years and/or rename the categories however you like.</a:t>
            </a:r>
          </a:p>
        </p:txBody>
      </p:sp>
      <p:cxnSp>
        <p:nvCxnSpPr>
          <p:cNvPr id="8" name="tc_columnheadline">
            <a:extLst>
              <a:ext uri="{FF2B5EF4-FFF2-40B4-BE49-F238E27FC236}">
                <a16:creationId xmlns:a16="http://schemas.microsoft.com/office/drawing/2014/main" id="{B1F6FE25-5243-F284-5F51-2A18C6E111FF}"/>
              </a:ext>
            </a:extLst>
          </p:cNvPr>
          <p:cNvCxnSpPr>
            <a:cxnSpLocks/>
          </p:cNvCxnSpPr>
          <p:nvPr/>
        </p:nvCxnSpPr>
        <p:spPr>
          <a:xfrm>
            <a:off x="8455234" y="1839911"/>
            <a:ext cx="336581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1510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F3706648-2AAB-44E1-7972-17680EB56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7BCCF9-9FE9-48DF-EDA1-349BEB753F4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958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7BCCF9-9FE9-48DF-EDA1-349BEB753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41F1D26-2A38-A534-ECC0-6F78E5F40E2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41400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123B310-75D0-6946-D443-E63FF0BC9B2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714625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382D27A-305F-3B41-538A-983C13FA5CB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87850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1C12C98-C875-D9BD-A157-93FC90658D2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062663" y="5367338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18639542-1F3C-445B-28A1-D3388BC65E80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14625932"/>
              </p:ext>
            </p:extLst>
          </p:nvPr>
        </p:nvGraphicFramePr>
        <p:xfrm>
          <a:off x="642938" y="1633538"/>
          <a:ext cx="7175500" cy="3940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547A347-8602-D3EA-AFB7-62483463F37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517775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8BA90D-E0BB-4477-B61C-45F35F4B77EE}" type="datetime'2''''''''''''''0''''2''''''''''''''''''''4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85B6C03-F03C-1F94-0D42-95966DA54FA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191000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428D04-0779-40EB-BEE5-14FDEB9B57D8}" type="datetime'''''''''''2''''0''''''''''''''''''''''''''''''2''''''5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3F8104A-D171-6FB8-D6C3-083A8AF9FC9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865813" y="55006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9EB21E-D391-4233-A709-D905167F9F42}" type="datetime'''2''''''''''''''''0''''''''''''''''26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907B55D-07C9-ADC6-A5FD-360F084ED249}"/>
              </a:ext>
            </a:extLst>
          </p:cNvPr>
          <p:cNvSpPr>
            <a:spLocks/>
          </p:cNvSpPr>
          <p:nvPr>
            <p:ph type="title"/>
          </p:nvPr>
        </p:nvSpPr>
        <p:spPr/>
        <p:txBody>
          <a:bodyPr vert="horz" rIns="91440">
            <a:spAutoFit/>
          </a:bodyPr>
          <a:lstStyle/>
          <a:p>
            <a:r>
              <a:rPr lang="en-US" dirty="0"/>
              <a:t>Box and whisker chart (advanced)</a:t>
            </a:r>
          </a:p>
        </p:txBody>
      </p:sp>
      <p:sp>
        <p:nvSpPr>
          <p:cNvPr id="4" name="tc_columnhead">
            <a:extLst>
              <a:ext uri="{FF2B5EF4-FFF2-40B4-BE49-F238E27FC236}">
                <a16:creationId xmlns:a16="http://schemas.microsoft.com/office/drawing/2014/main" id="{815B92F0-B6C0-E1C8-75A5-C4116083610F}"/>
              </a:ext>
            </a:extLst>
          </p:cNvPr>
          <p:cNvSpPr txBox="1">
            <a:spLocks/>
          </p:cNvSpPr>
          <p:nvPr/>
        </p:nvSpPr>
        <p:spPr>
          <a:xfrm>
            <a:off x="8455234" y="1557338"/>
            <a:ext cx="3365818" cy="282573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vert="horz" wrap="square" lIns="0" tIns="0" rIns="0" bIns="36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1"/>
                </a:solidFill>
              </a:rPr>
              <a:t>Edit the chart</a:t>
            </a:r>
          </a:p>
        </p:txBody>
      </p:sp>
      <p:sp>
        <p:nvSpPr>
          <p:cNvPr id="5" name="Rechteck 137">
            <a:extLst>
              <a:ext uri="{FF2B5EF4-FFF2-40B4-BE49-F238E27FC236}">
                <a16:creationId xmlns:a16="http://schemas.microsoft.com/office/drawing/2014/main" id="{42A37261-0377-B765-ECA0-DDB2DE41133B}"/>
              </a:ext>
            </a:extLst>
          </p:cNvPr>
          <p:cNvSpPr>
            <a:spLocks/>
          </p:cNvSpPr>
          <p:nvPr/>
        </p:nvSpPr>
        <p:spPr>
          <a:xfrm>
            <a:off x="8455234" y="1916113"/>
            <a:ext cx="3366000" cy="41417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Double-click the chart to open the slide workbook.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The slide workbook contains a sheet, ‘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RawData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’ where you can insert your raw data. 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The sheet, ‘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ChartData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’ contains formulas that are used to calculate the median, max and min values, and upper and lower quartiles based on the raw data.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You can, of course, extend the chart data to include more categories if you have more than three in your dataset.</a:t>
            </a:r>
          </a:p>
        </p:txBody>
      </p:sp>
      <p:cxnSp>
        <p:nvCxnSpPr>
          <p:cNvPr id="7" name="tc_columnheadline">
            <a:extLst>
              <a:ext uri="{FF2B5EF4-FFF2-40B4-BE49-F238E27FC236}">
                <a16:creationId xmlns:a16="http://schemas.microsoft.com/office/drawing/2014/main" id="{F2BFA871-7E9A-D781-6A5D-37577542EDF0}"/>
              </a:ext>
            </a:extLst>
          </p:cNvPr>
          <p:cNvCxnSpPr>
            <a:cxnSpLocks/>
          </p:cNvCxnSpPr>
          <p:nvPr/>
        </p:nvCxnSpPr>
        <p:spPr>
          <a:xfrm>
            <a:off x="8455234" y="1839911"/>
            <a:ext cx="336581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8444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32687&quot;&gt;&lt;version val=&quot;38576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B2jgbAzy2Lfvphizu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aP7OK7XzUPSrS4Rhu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rxLod1ydxx08Ll1fZ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ymUZY.gRmbeAqJg.7g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FnWPd3bJeFJBUHpsn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mpD4YBBIjRGxfyRYY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ZAawdQU.uL50jyTJSJ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6g1Z3flwP5soED_tS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B2jgbAzy2Lfvphizu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aP7OK7XzUPSrS4Rhu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rxLod1ydxx08Ll1fZ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ymUZY.gRmbeAqJg.7g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FnWPd3bJeFJBUHpsn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mpD4YBBIjRGxfyRYY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ZAawdQU.uL50jyTJSJ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6g1Z3flwP5soED_tSVQ"/>
</p:tagLst>
</file>

<file path=ppt/theme/theme1.xml><?xml version="1.0" encoding="utf-8"?>
<a:theme xmlns:a="http://schemas.openxmlformats.org/drawingml/2006/main" name="think-cell 2026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9" id="{BFF6AA2F-B839-204B-AFF4-CD1DD296E1BC}" vid="{6C2FBA31-9770-3247-9614-D4D843EA639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7662ee4d4cdf8d640f946d6a6a1f4d65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594cf9e78fd8b9667706b8e1c1c1e40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F4A33441-2EFA-40D2-A55C-791A05D6731F}"/>
</file>

<file path=customXml/itemProps2.xml><?xml version="1.0" encoding="utf-8"?>
<ds:datastoreItem xmlns:ds="http://schemas.openxmlformats.org/officeDocument/2006/customXml" ds:itemID="{70E35F89-7283-446F-86D1-3D4C5A1C4227}"/>
</file>

<file path=customXml/itemProps3.xml><?xml version="1.0" encoding="utf-8"?>
<ds:datastoreItem xmlns:ds="http://schemas.openxmlformats.org/officeDocument/2006/customXml" ds:itemID="{5BF06FF8-174D-40A2-8D71-45A1D0B37B6D}"/>
</file>

<file path=docProps/app.xml><?xml version="1.0" encoding="utf-8"?>
<Properties xmlns="http://schemas.openxmlformats.org/officeDocument/2006/extended-properties" xmlns:vt="http://schemas.openxmlformats.org/officeDocument/2006/docPropsVTypes">
  <Template>think-cell template Light</Template>
  <TotalTime>0</TotalTime>
  <Words>158</Words>
  <Application>Microsoft Office PowerPoint</Application>
  <PresentationFormat>Widescreen</PresentationFormat>
  <Paragraphs>1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Futura</vt:lpstr>
      <vt:lpstr>Symbol</vt:lpstr>
      <vt:lpstr>think-cell 2026</vt:lpstr>
      <vt:lpstr>think-cell Slide</vt:lpstr>
      <vt:lpstr>Box and whisker chart</vt:lpstr>
      <vt:lpstr>Box and whisker chart</vt:lpstr>
      <vt:lpstr>Box and whisker chart (advanced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1-20T10:26:24Z</dcterms:created>
  <dcterms:modified xsi:type="dcterms:W3CDTF">2026-01-20T10:2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